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830" r:id="rId2"/>
    <p:sldId id="831" r:id="rId3"/>
    <p:sldId id="835" r:id="rId4"/>
    <p:sldId id="837" r:id="rId5"/>
    <p:sldId id="838" r:id="rId6"/>
    <p:sldId id="839" r:id="rId7"/>
    <p:sldId id="309" r:id="rId8"/>
    <p:sldId id="815" r:id="rId9"/>
    <p:sldId id="816" r:id="rId10"/>
    <p:sldId id="313" r:id="rId11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Пользователь Windows" initials="ПW" lastIdx="1" clrIdx="0">
    <p:extLst>
      <p:ext uri="{19B8F6BF-5375-455C-9EA6-DF929625EA0E}">
        <p15:presenceInfo xmlns:p15="http://schemas.microsoft.com/office/powerpoint/2012/main" userId="Пользователь Window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9" d="100"/>
          <a:sy n="109" d="100"/>
        </p:scale>
        <p:origin x="1674" y="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11-08T16:19:29.211" idx="1">
    <p:pos x="10" y="10"/>
    <p:text/>
    <p:extLst>
      <p:ext uri="{C676402C-5697-4E1C-873F-D02D1690AC5C}">
        <p15:threadingInfo xmlns:p15="http://schemas.microsoft.com/office/powerpoint/2012/main" timeZoneBias="-30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</a:t>
          </a:r>
          <a:r>
            <a:rPr lang="ru-RU" sz="1200" b="1" dirty="0" smtClean="0"/>
            <a:t>МБДОУ ДС № 481</a:t>
          </a:r>
          <a:endParaRPr lang="ru-RU" sz="1200" b="1" dirty="0"/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83304D7-6E5D-473F-A09C-61CA892572B6}" type="presOf" srcId="{8380A261-4409-4C6B-8A07-0D64C5422F6D}" destId="{EB789FCB-B92C-4A52-BB06-4A95FA62001B}" srcOrd="1" destOrd="0" presId="urn:microsoft.com/office/officeart/2005/8/layout/pyramid1"/>
    <dgm:cxn modelId="{AF00D5F7-EB66-4534-ADAD-5E411AADA757}" type="presOf" srcId="{CBB2EDB4-08BF-49DB-9282-C363CE23E3D0}" destId="{8064A9E2-4365-4891-A563-4210D9FE6047}" srcOrd="1" destOrd="0" presId="urn:microsoft.com/office/officeart/2005/8/layout/pyramid1"/>
    <dgm:cxn modelId="{E973BE26-0F54-4F21-939E-5F3FDD5A988B}" type="presOf" srcId="{F014B99B-BC0F-4D51-AA35-03139CBC5BDF}" destId="{47753778-DDCD-4F66-8671-0963E55AC1AB}" srcOrd="0" destOrd="0" presId="urn:microsoft.com/office/officeart/2005/8/layout/pyramid1"/>
    <dgm:cxn modelId="{EA86ED42-6A90-4B81-BA1F-805CC769B6E9}" type="presOf" srcId="{C055D918-0D48-44D3-9287-CAE1B93EB64A}" destId="{8C222443-D6D5-437E-8A06-7845FF64044F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04B51F2A-C1FB-4842-98EF-A4DFDDAE3732}" type="presOf" srcId="{CBB2EDB4-08BF-49DB-9282-C363CE23E3D0}" destId="{7099C5AD-A666-455F-9144-31509FAE35FB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CC6C33D5-971E-4B3D-804F-EEEC9E6B2692}" type="presOf" srcId="{F014B99B-BC0F-4D51-AA35-03139CBC5BDF}" destId="{158BBE6D-1C8E-4142-827F-B1B32D20364B}" srcOrd="1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A7159F69-0B3C-4263-9CDF-505883578833}" type="presOf" srcId="{8380A261-4409-4C6B-8A07-0D64C5422F6D}" destId="{3405B94A-B110-4EB0-B99D-680A85764021}" srcOrd="0" destOrd="0" presId="urn:microsoft.com/office/officeart/2005/8/layout/pyramid1"/>
    <dgm:cxn modelId="{776D1F11-FBFF-4672-8524-4A1C1EF57120}" type="presParOf" srcId="{8C222443-D6D5-437E-8A06-7845FF64044F}" destId="{8E592AC7-B094-488F-86DE-8B46AA43A5F7}" srcOrd="0" destOrd="0" presId="urn:microsoft.com/office/officeart/2005/8/layout/pyramid1"/>
    <dgm:cxn modelId="{25A07EA2-F265-4258-B148-CCDC2DCB67CD}" type="presParOf" srcId="{8E592AC7-B094-488F-86DE-8B46AA43A5F7}" destId="{47753778-DDCD-4F66-8671-0963E55AC1AB}" srcOrd="0" destOrd="0" presId="urn:microsoft.com/office/officeart/2005/8/layout/pyramid1"/>
    <dgm:cxn modelId="{89DA8EC3-ECBE-4AAF-8A59-7D29BCFA7530}" type="presParOf" srcId="{8E592AC7-B094-488F-86DE-8B46AA43A5F7}" destId="{158BBE6D-1C8E-4142-827F-B1B32D20364B}" srcOrd="1" destOrd="0" presId="urn:microsoft.com/office/officeart/2005/8/layout/pyramid1"/>
    <dgm:cxn modelId="{2B945DB0-2D4E-4D9C-9D9C-255460EEC0C9}" type="presParOf" srcId="{8C222443-D6D5-437E-8A06-7845FF64044F}" destId="{08609C55-E487-4600-AFD0-8994D3888F22}" srcOrd="1" destOrd="0" presId="urn:microsoft.com/office/officeart/2005/8/layout/pyramid1"/>
    <dgm:cxn modelId="{12D447AB-405F-4178-930D-2DE10C4E4708}" type="presParOf" srcId="{08609C55-E487-4600-AFD0-8994D3888F22}" destId="{7099C5AD-A666-455F-9144-31509FAE35FB}" srcOrd="0" destOrd="0" presId="urn:microsoft.com/office/officeart/2005/8/layout/pyramid1"/>
    <dgm:cxn modelId="{DF4AFE34-8D41-4D80-B04A-87814EA38278}" type="presParOf" srcId="{08609C55-E487-4600-AFD0-8994D3888F22}" destId="{8064A9E2-4365-4891-A563-4210D9FE6047}" srcOrd="1" destOrd="0" presId="urn:microsoft.com/office/officeart/2005/8/layout/pyramid1"/>
    <dgm:cxn modelId="{12439197-1724-45FE-81FA-A7AC17B05C06}" type="presParOf" srcId="{8C222443-D6D5-437E-8A06-7845FF64044F}" destId="{4E66420A-6794-4210-A8DC-A681DFE94B26}" srcOrd="2" destOrd="0" presId="urn:microsoft.com/office/officeart/2005/8/layout/pyramid1"/>
    <dgm:cxn modelId="{CD7DAD8A-DA19-4CF1-A120-4E6D9D2D61BC}" type="presParOf" srcId="{4E66420A-6794-4210-A8DC-A681DFE94B26}" destId="{3405B94A-B110-4EB0-B99D-680A85764021}" srcOrd="0" destOrd="0" presId="urn:microsoft.com/office/officeart/2005/8/layout/pyramid1"/>
    <dgm:cxn modelId="{74B7279C-412A-4FA3-94D3-D27FD47D83B3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</a:t>
          </a:r>
          <a:r>
            <a:rPr lang="ru-RU" sz="1200" b="1" kern="1200" dirty="0" smtClean="0"/>
            <a:t>МБДОУ ДС № 481</a:t>
          </a:r>
          <a:endParaRPr lang="ru-RU" sz="1200" b="1" kern="1200" dirty="0"/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08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08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08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08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08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08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08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08.11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08.11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08.11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08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08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08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detsad481.ru/berezhlivaya-obrazovatelnaya-organizatsiya/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omments" Target="../comments/comment1.xml"/><Relationship Id="rId3" Type="http://schemas.openxmlformats.org/officeDocument/2006/relationships/image" Target="../media/image1.png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БДОУ «ДС № 481 г. Челябинска»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32343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по внедрению бережливых технологий в системе образования </a:t>
            </a:r>
          </a:p>
          <a:p>
            <a:pPr algn="ctr"/>
            <a:r>
              <a:rPr 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а Челябинска (для  </a:t>
            </a:r>
            <a:r>
              <a:rPr lang="en-US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ck</a:t>
            </a: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en-US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ff )</a:t>
            </a:r>
            <a:endParaRPr lang="ru-RU" sz="20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3923928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ий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айрамова Наталья Павловн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18158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800" b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Оптимизация процесса сбора и хранения данных достижений профессиональной деятельности педагогов </a:t>
            </a:r>
            <a:endParaRPr lang="ru-RU" sz="2800" b="1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8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МБДОУ </a:t>
            </a:r>
            <a:r>
              <a:rPr lang="ru-RU" sz="2800" b="1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«ДС № 481 г. Челябинска</a:t>
            </a:r>
            <a:r>
              <a:rPr lang="ru-RU" sz="28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8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2023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0</a:t>
            </a:fld>
            <a:endParaRPr lang="ru-RU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B7F9214-65B7-4DA9-8E70-1F7568E6EF8E}"/>
              </a:ext>
            </a:extLst>
          </p:cNvPr>
          <p:cNvSpPr/>
          <p:nvPr/>
        </p:nvSpPr>
        <p:spPr>
          <a:xfrm>
            <a:off x="683568" y="1099765"/>
            <a:ext cx="750134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rgbClr val="FF0000"/>
                </a:solidFill>
              </a:rPr>
              <a:t>Ссылка на сайт </a:t>
            </a:r>
            <a:r>
              <a:rPr lang="ru-RU" sz="2000" dirty="0" smtClean="0">
                <a:solidFill>
                  <a:srgbClr val="FF0000"/>
                </a:solidFill>
              </a:rPr>
              <a:t>МБДОУ ДС № 481</a:t>
            </a:r>
          </a:p>
          <a:p>
            <a:pPr algn="ctr"/>
            <a:r>
              <a:rPr lang="ru-RU" sz="2000" dirty="0" smtClean="0">
                <a:solidFill>
                  <a:srgbClr val="FF0000"/>
                </a:solidFill>
              </a:rPr>
              <a:t> </a:t>
            </a:r>
            <a:r>
              <a:rPr lang="ru-RU" sz="2000" dirty="0">
                <a:solidFill>
                  <a:srgbClr val="FF0000"/>
                </a:solidFill>
              </a:rPr>
              <a:t>(вкладка </a:t>
            </a:r>
            <a:r>
              <a:rPr lang="ru-RU" sz="2000" dirty="0" smtClean="0">
                <a:solidFill>
                  <a:srgbClr val="FF0000"/>
                </a:solidFill>
              </a:rPr>
              <a:t>Бережливое образование)</a:t>
            </a:r>
            <a:endParaRPr lang="ru-RU" sz="2000" dirty="0">
              <a:solidFill>
                <a:srgbClr val="FF0000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FDB8E0C-BD3E-44F6-8E70-117F0B963AF4}"/>
              </a:ext>
            </a:extLst>
          </p:cNvPr>
          <p:cNvSpPr/>
          <p:nvPr/>
        </p:nvSpPr>
        <p:spPr>
          <a:xfrm>
            <a:off x="1227066" y="1639662"/>
            <a:ext cx="7717381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  <a:hlinkClick r:id="rId3"/>
              </a:rPr>
              <a:t>https</a:t>
            </a:r>
            <a:r>
              <a:rPr lang="en-US" sz="2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  <a:hlinkClick r:id="rId3"/>
              </a:rPr>
              <a:t>://detsad481.ru/berezhlivaya-obrazovatelnaya-organizatsiya</a:t>
            </a:r>
            <a:r>
              <a:rPr lang="en-US" sz="2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  <a:hlinkClick r:id="rId3"/>
              </a:rPr>
              <a:t>/</a:t>
            </a:r>
            <a:endParaRPr lang="ru-RU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0" name="Рисунок 9" descr="gerd_mal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02" r="1176" b="8000"/>
          <a:stretch/>
        </p:blipFill>
        <p:spPr>
          <a:xfrm>
            <a:off x="242675" y="2420888"/>
            <a:ext cx="5342485" cy="38164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8" t="6602" r="6688" b="8000"/>
          <a:stretch/>
        </p:blipFill>
        <p:spPr>
          <a:xfrm>
            <a:off x="3734626" y="3551243"/>
            <a:ext cx="5223068" cy="31702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74804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41711709"/>
              </p:ext>
            </p:extLst>
          </p:nvPr>
        </p:nvGraphicFramePr>
        <p:xfrm>
          <a:off x="956732" y="879056"/>
          <a:ext cx="7671954" cy="5074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" name="Документ" r:id="rId5" imgW="10214982" imgH="6757331" progId="Word.Document.12">
                  <p:embed/>
                </p:oleObj>
              </mc:Choice>
              <mc:Fallback>
                <p:oleObj name="Документ" r:id="rId5" imgW="10214982" imgH="6757331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56732" y="879056"/>
                        <a:ext cx="7671954" cy="5074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889166" y="114300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7955885"/>
              </p:ext>
            </p:extLst>
          </p:nvPr>
        </p:nvGraphicFramePr>
        <p:xfrm>
          <a:off x="483844" y="1603534"/>
          <a:ext cx="1679166" cy="182335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6791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573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5562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Сбор подтверждающих документов достижений профессиональной деятельности из различных источников (печатных, электронных)</a:t>
                      </a: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9352">
                <a:tc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142875" y="1501631"/>
            <a:ext cx="231794" cy="1373335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8822718" y="1501632"/>
            <a:ext cx="220749" cy="1423312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70" name="Пятно 1 60"/>
          <p:cNvSpPr/>
          <p:nvPr/>
        </p:nvSpPr>
        <p:spPr>
          <a:xfrm>
            <a:off x="2094485" y="1152667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84" name="Пятно 1 60"/>
          <p:cNvSpPr/>
          <p:nvPr/>
        </p:nvSpPr>
        <p:spPr>
          <a:xfrm>
            <a:off x="6578218" y="1104246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04" name="Пятно 1 60"/>
          <p:cNvSpPr/>
          <p:nvPr/>
        </p:nvSpPr>
        <p:spPr>
          <a:xfrm>
            <a:off x="4396783" y="1104697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889166" y="624439"/>
            <a:ext cx="793355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Карта текущего состояния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процесса «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Оптимизация процесса сбора и хранения данных достижений профессиональной деятельности педагогов МБДОУ «ДС № 481 г. Челябинска»</a:t>
            </a:r>
          </a:p>
          <a:p>
            <a:pPr algn="ctr"/>
            <a:endParaRPr lang="ru-RU" sz="1400" b="1" dirty="0" smtClean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9898797"/>
              </p:ext>
            </p:extLst>
          </p:nvPr>
        </p:nvGraphicFramePr>
        <p:xfrm>
          <a:off x="2740598" y="1603534"/>
          <a:ext cx="1804804" cy="192024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8048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9948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9041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Распечатка подтверждающих документов достижений профессиональной деятельности</a:t>
                      </a: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9873">
                <a:tc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5577158"/>
              </p:ext>
            </p:extLst>
          </p:nvPr>
        </p:nvGraphicFramePr>
        <p:xfrm>
          <a:off x="4889426" y="1603534"/>
          <a:ext cx="1751856" cy="192024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1900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0074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Систематизация документов портфолио</a:t>
                      </a: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0496">
                <a:tc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7861178"/>
              </p:ext>
            </p:extLst>
          </p:nvPr>
        </p:nvGraphicFramePr>
        <p:xfrm>
          <a:off x="6985306" y="1643238"/>
          <a:ext cx="1751856" cy="188053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2392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987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Составление папки портфолио на бумажных носителях</a:t>
                      </a: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9365">
                <a:tc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0" name="Прямоугольник 109"/>
          <p:cNvSpPr/>
          <p:nvPr/>
        </p:nvSpPr>
        <p:spPr>
          <a:xfrm>
            <a:off x="3275856" y="112221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5469036" y="110469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7520770" y="1134413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4</a:t>
            </a:r>
            <a:r>
              <a:rPr lang="ru-RU" sz="1200" b="1" dirty="0"/>
              <a:t> </a:t>
            </a:r>
          </a:p>
        </p:txBody>
      </p:sp>
      <p:sp>
        <p:nvSpPr>
          <p:cNvPr id="119" name="Стрелка вправо 118"/>
          <p:cNvSpPr/>
          <p:nvPr/>
        </p:nvSpPr>
        <p:spPr>
          <a:xfrm>
            <a:off x="4548528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0" name="Стрелка вправо 119"/>
          <p:cNvSpPr/>
          <p:nvPr/>
        </p:nvSpPr>
        <p:spPr>
          <a:xfrm>
            <a:off x="6679001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1" name="Стрелка вправо 120"/>
          <p:cNvSpPr/>
          <p:nvPr/>
        </p:nvSpPr>
        <p:spPr>
          <a:xfrm>
            <a:off x="2345023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5" name="Рисунок 4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1766182"/>
              </p:ext>
            </p:extLst>
          </p:nvPr>
        </p:nvGraphicFramePr>
        <p:xfrm>
          <a:off x="483844" y="3789040"/>
          <a:ext cx="8160094" cy="2652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98240">
                  <a:extLst>
                    <a:ext uri="{9D8B030D-6E8A-4147-A177-3AD203B41FA5}">
                      <a16:colId xmlns:a16="http://schemas.microsoft.com/office/drawing/2014/main" val="4129639082"/>
                    </a:ext>
                  </a:extLst>
                </a:gridCol>
                <a:gridCol w="4261854">
                  <a:extLst>
                    <a:ext uri="{9D8B030D-6E8A-4147-A177-3AD203B41FA5}">
                      <a16:colId xmlns:a16="http://schemas.microsoft.com/office/drawing/2014/main" val="3102652531"/>
                    </a:ext>
                  </a:extLst>
                </a:gridCol>
              </a:tblGrid>
              <a:tr h="273163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059267"/>
                  </a:ext>
                </a:extLst>
              </a:tr>
              <a:tr h="966132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sz="1400" dirty="0" smtClean="0">
                          <a:effectLst/>
                        </a:rPr>
                        <a:t> Разрозненность хранения материалов, потеря информации о достижениях профессиональной деятельности педагога</a:t>
                      </a:r>
                      <a:endParaRPr lang="ru-RU" sz="14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Отсутствие электронной</a:t>
                      </a:r>
                    </a:p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системы учета достижений</a:t>
                      </a:r>
                      <a:endParaRPr lang="ru-RU" sz="14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405258"/>
                  </a:ext>
                </a:extLst>
              </a:tr>
              <a:tr h="863665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sz="1400" dirty="0" smtClean="0">
                          <a:effectLst/>
                        </a:rPr>
                        <a:t> Неполный пакет документов, хаотичная систематизация материалов, низкое качество педагогического портфолио</a:t>
                      </a:r>
                      <a:endParaRPr lang="ru-RU" sz="14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/>
                        </a:rPr>
                        <a:t>Отсутствие стандарта оформления электронного портфолио</a:t>
                      </a:r>
                      <a:endParaRPr lang="ru-RU" sz="14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944340648"/>
                  </a:ext>
                </a:extLst>
              </a:tr>
              <a:tr h="464353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sz="1400" dirty="0" smtClean="0">
                          <a:effectLst/>
                        </a:rPr>
                        <a:t> Скопление бумажных документов</a:t>
                      </a:r>
                      <a:endParaRPr lang="ru-RU" sz="14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/>
                        </a:rPr>
                        <a:t>Отсутствие электронного портфолио</a:t>
                      </a:r>
                      <a:endParaRPr lang="ru-RU" sz="14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2236588"/>
                  </a:ext>
                </a:extLst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4047621499"/>
              </p:ext>
            </p:extLst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834933" y="1500188"/>
            <a:ext cx="3769515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федеральном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ровне – </a:t>
            </a:r>
          </a:p>
          <a:p>
            <a:pPr algn="ctr"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 выявлено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857750" y="2924944"/>
            <a:ext cx="3746698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региональном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ровне – не выявлено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876732" y="4077072"/>
            <a:ext cx="3865563" cy="2072843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Разрозненность хранения материалов, потеря информации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полный пакет документов, хаотичная систематизация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атериалов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Скопление бумажных документов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398512" y="5472380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2051084" y="4575840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915816" y="5472380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Рисунок 22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5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5177488" y="2471272"/>
            <a:ext cx="258608" cy="1332720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188245" y="2471272"/>
            <a:ext cx="251520" cy="1224136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842" y="644777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5"/>
          <p:cNvSpPr>
            <a:spLocks noChangeArrowheads="1"/>
          </p:cNvSpPr>
          <p:nvPr/>
        </p:nvSpPr>
        <p:spPr bwMode="auto">
          <a:xfrm>
            <a:off x="395536" y="1146189"/>
            <a:ext cx="8498085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Карта целевого состояния процесса </a:t>
            </a:r>
            <a:r>
              <a:rPr lang="ru-RU" sz="1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Оптимизация процесса сбора и хранения данных достижений профессиональной деятельности педагогов МБДОУ «ДС № 481 г. Челябинска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325115"/>
              </p:ext>
            </p:extLst>
          </p:nvPr>
        </p:nvGraphicFramePr>
        <p:xfrm>
          <a:off x="578941" y="2525881"/>
          <a:ext cx="1751856" cy="223828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Сбор подтверждающих документов достижений профессиональной деятельности в электронном формате с использованием возможностей облачного хранилища</a:t>
                      </a: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1043608" y="2000249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2397976" y="292494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33" name="Таблица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4274990"/>
              </p:ext>
            </p:extLst>
          </p:nvPr>
        </p:nvGraphicFramePr>
        <p:xfrm>
          <a:off x="2824550" y="2528785"/>
          <a:ext cx="1819458" cy="2235381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8194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8476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4653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Составление электронного портфолио по заданному макету с ссылочным оформлением подтверждающих документов</a:t>
                      </a: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0374">
                <a:tc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7" name="Стрелка вправо 36"/>
          <p:cNvSpPr/>
          <p:nvPr/>
        </p:nvSpPr>
        <p:spPr>
          <a:xfrm>
            <a:off x="4644008" y="297525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3362200" y="2000249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45" name="Облако 44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2267744" y="1958448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1</a:t>
            </a:r>
          </a:p>
        </p:txBody>
      </p:sp>
      <p:sp>
        <p:nvSpPr>
          <p:cNvPr id="46" name="Облако 45">
            <a:extLst>
              <a:ext uri="{FF2B5EF4-FFF2-40B4-BE49-F238E27FC236}">
                <a16:creationId xmlns:a16="http://schemas.microsoft.com/office/drawing/2014/main" id="{E460C5E6-5047-4C75-8C7B-4DE90D77B07D}"/>
              </a:ext>
            </a:extLst>
          </p:cNvPr>
          <p:cNvSpPr/>
          <p:nvPr/>
        </p:nvSpPr>
        <p:spPr>
          <a:xfrm>
            <a:off x="4283847" y="1968559"/>
            <a:ext cx="674770" cy="318720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BFCFCEC-6A8A-4879-960C-08B3AEDF6CD5}"/>
              </a:ext>
            </a:extLst>
          </p:cNvPr>
          <p:cNvSpPr txBox="1"/>
          <p:nvPr/>
        </p:nvSpPr>
        <p:spPr>
          <a:xfrm>
            <a:off x="5880700" y="4097744"/>
            <a:ext cx="3160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Предложения по улучшению</a:t>
            </a: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0709319"/>
              </p:ext>
            </p:extLst>
          </p:nvPr>
        </p:nvGraphicFramePr>
        <p:xfrm>
          <a:off x="5177488" y="4661520"/>
          <a:ext cx="3750185" cy="166114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7501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5583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 </a:t>
                      </a:r>
                      <a:r>
                        <a:rPr lang="ru-RU" sz="1600" dirty="0" smtClean="0">
                          <a:effectLst/>
                        </a:rPr>
                        <a:t>Разработка алгоритма оформления и хранения материалов портфолио педагога </a:t>
                      </a:r>
                      <a:endParaRPr lang="ru-RU" alt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583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6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600" dirty="0" smtClean="0">
                          <a:effectLst/>
                        </a:rPr>
                        <a:t>Разработка электронного макета педагогического портфолио</a:t>
                      </a:r>
                      <a:endParaRPr lang="ru-RU" alt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04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8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9" name="Рисунок 48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6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29853644"/>
              </p:ext>
            </p:extLst>
          </p:nvPr>
        </p:nvGraphicFramePr>
        <p:xfrm>
          <a:off x="361949" y="1484784"/>
          <a:ext cx="8640761" cy="52581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17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963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503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тветственный</a:t>
                      </a:r>
                      <a:r>
                        <a:rPr lang="ru-RU" sz="1300" baseline="0" dirty="0"/>
                        <a:t> 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жидаемый результат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altLang="ru-RU" sz="14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зрозненность хранения материалов, потеря информации о достижениях профессиональной деятельности педагога</a:t>
                      </a:r>
                      <a:endParaRPr lang="ru-RU" altLang="ru-RU" sz="1200" b="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зработка алгоритма оформления и хранения данных достижений профессиональной деятельности педагогов с использованием возможностей облачного хранилища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арший воспитатель </a:t>
                      </a:r>
                      <a:r>
                        <a:rPr lang="ru-RU" sz="12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молкина</a:t>
                      </a: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М.А.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.04-18.04.2023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озможность оперативного сбора информации достижений профессиональной деятельности педагогов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</a:t>
                      </a: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полный пакет документов, хаотичная систематизация материалов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зработка электронного макета педагогического портфолио с ссылочным оформлением подтверждающих документов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тели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рохова Л.З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дионова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Н.А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.04-26.04.2023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андарт оформления электронного портфолио педагога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</a:t>
                      </a:r>
                      <a:r>
                        <a:rPr lang="ru-RU" altLang="ru-RU" sz="14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копление бумажных документов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зработка электронного макета педагогического портфолио с ссылочным оформлением подтверждающих документов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тели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рохова Л.З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дионова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Н.А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.04-26.04.2023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еход на электронное оформление педагогического портфолио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1535">
                <a:tc gridSpan="2">
                  <a:txBody>
                    <a:bodyPr/>
                    <a:lstStyle/>
                    <a:p>
                      <a:pPr algn="just"/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 </a:t>
                      </a: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пробация процесса </a:t>
                      </a:r>
                      <a:endParaRPr lang="ru-RU" altLang="ru-RU" sz="1200" b="0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 hMerge="1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меститель заведующего по УВР Кондратюк Н.Ю.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.07-22.05.2023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спользование 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лгоритма оформления и хранения материалов портфолио педагога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31535">
                <a:tc gridSpan="2">
                  <a:txBody>
                    <a:bodyPr/>
                    <a:lstStyle/>
                    <a:p>
                      <a:pPr algn="just"/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.</a:t>
                      </a:r>
                      <a:r>
                        <a:rPr lang="ru-RU" altLang="ru-RU" sz="12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нализ и оценка достижения целевых показателей проекта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меститель заведующего по УМР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оманова У.С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.05-30.05.2023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ачественное электронное портфолио педагога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829723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Заголовок 1"/>
          <p:cNvSpPr>
            <a:spLocks noGrp="1"/>
          </p:cNvSpPr>
          <p:nvPr>
            <p:ph type="title"/>
          </p:nvPr>
        </p:nvSpPr>
        <p:spPr>
          <a:xfrm>
            <a:off x="483844" y="959977"/>
            <a:ext cx="8229600" cy="612523"/>
          </a:xfrm>
        </p:spPr>
        <p:txBody>
          <a:bodyPr>
            <a:normAutofit/>
          </a:bodyPr>
          <a:lstStyle/>
          <a:p>
            <a:pPr eaLnBrk="1" hangingPunct="1"/>
            <a:r>
              <a:rPr lang="ru-RU" altLang="ru-RU" sz="2800" b="1" dirty="0">
                <a:solidFill>
                  <a:srgbClr val="0070C0"/>
                </a:solidFill>
              </a:rPr>
              <a:t>Достигнутые </a:t>
            </a:r>
            <a:r>
              <a:rPr lang="ru-RU" altLang="ru-RU" sz="2800" b="1" dirty="0" smtClean="0">
                <a:solidFill>
                  <a:srgbClr val="0070C0"/>
                </a:solidFill>
              </a:rPr>
              <a:t>результаты</a:t>
            </a:r>
            <a:endParaRPr lang="ru-RU" altLang="ru-RU" sz="2800" b="1" dirty="0">
              <a:solidFill>
                <a:srgbClr val="0070C0"/>
              </a:solidFill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7</a:t>
            </a:fld>
            <a:endParaRPr lang="ru-RU" altLang="ru-RU">
              <a:latin typeface="Arial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1" name="Рисунок 20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5195001"/>
              </p:ext>
            </p:extLst>
          </p:nvPr>
        </p:nvGraphicFramePr>
        <p:xfrm>
          <a:off x="683570" y="1916831"/>
          <a:ext cx="8136901" cy="335541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89548">
                  <a:extLst>
                    <a:ext uri="{9D8B030D-6E8A-4147-A177-3AD203B41FA5}">
                      <a16:colId xmlns:a16="http://schemas.microsoft.com/office/drawing/2014/main" val="1888116225"/>
                    </a:ext>
                  </a:extLst>
                </a:gridCol>
                <a:gridCol w="1564396">
                  <a:extLst>
                    <a:ext uri="{9D8B030D-6E8A-4147-A177-3AD203B41FA5}">
                      <a16:colId xmlns:a16="http://schemas.microsoft.com/office/drawing/2014/main" val="984392243"/>
                    </a:ext>
                  </a:extLst>
                </a:gridCol>
                <a:gridCol w="1564396">
                  <a:extLst>
                    <a:ext uri="{9D8B030D-6E8A-4147-A177-3AD203B41FA5}">
                      <a16:colId xmlns:a16="http://schemas.microsoft.com/office/drawing/2014/main" val="2815319700"/>
                    </a:ext>
                  </a:extLst>
                </a:gridCol>
                <a:gridCol w="1518561">
                  <a:extLst>
                    <a:ext uri="{9D8B030D-6E8A-4147-A177-3AD203B41FA5}">
                      <a16:colId xmlns:a16="http://schemas.microsoft.com/office/drawing/2014/main" val="3895335382"/>
                    </a:ext>
                  </a:extLst>
                </a:gridCol>
              </a:tblGrid>
              <a:tr h="141155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Наименование целевого показателя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Текущее значение показателя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Целевое значение показателя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Фактически достигнутое значение показателя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5885179"/>
                  </a:ext>
                </a:extLst>
              </a:tr>
              <a:tr h="8063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tabLst>
                          <a:tab pos="270510" algn="l"/>
                        </a:tabLst>
                      </a:pPr>
                      <a:r>
                        <a:rPr lang="ru-RU" sz="1800" dirty="0">
                          <a:effectLst/>
                        </a:rPr>
                        <a:t>Алгоритм оформления и хранения материалов портфолио педагога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отсутствие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наличие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наличие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0740685"/>
                  </a:ext>
                </a:extLst>
              </a:tr>
              <a:tr h="8063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tabLst>
                          <a:tab pos="270510" algn="l"/>
                        </a:tabLst>
                      </a:pPr>
                      <a:r>
                        <a:rPr lang="ru-RU" sz="1800" kern="1600" dirty="0">
                          <a:effectLst/>
                        </a:rPr>
                        <a:t>Доля педагогов имеющих качественное электронное портфолио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tabLst>
                          <a:tab pos="270510" algn="l"/>
                        </a:tabLst>
                      </a:pPr>
                      <a:r>
                        <a:rPr lang="ru-RU" sz="1800" kern="1600" dirty="0">
                          <a:effectLst/>
                        </a:rPr>
                        <a:t>10%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tabLst>
                          <a:tab pos="270510" algn="l"/>
                        </a:tabLst>
                      </a:pPr>
                      <a:r>
                        <a:rPr lang="ru-RU" sz="1800" kern="1600" dirty="0">
                          <a:effectLst/>
                        </a:rPr>
                        <a:t>не менее 85%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86%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690795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3988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8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полнение плана реализации проекта</a:t>
            </a:r>
          </a:p>
          <a:p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7" name="Рисунок 16" descr="gerd_mal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Объект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51908889"/>
              </p:ext>
            </p:extLst>
          </p:nvPr>
        </p:nvGraphicFramePr>
        <p:xfrm>
          <a:off x="5580112" y="1628643"/>
          <a:ext cx="3246255" cy="35283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" name="Документ" r:id="rId5" imgW="5940791" imgH="6104724" progId="Word.Document.12">
                  <p:embed/>
                </p:oleObj>
              </mc:Choice>
              <mc:Fallback>
                <p:oleObj name="Документ" r:id="rId5" imgW="5940791" imgH="6104724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580112" y="1628643"/>
                        <a:ext cx="3246255" cy="3528391"/>
                      </a:xfrm>
                      <a:prstGeom prst="rect">
                        <a:avLst/>
                      </a:prstGeom>
                      <a:solidFill>
                        <a:srgbClr val="9EE0FE"/>
                      </a:solidFill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9" t="6605" r="5446" b="9347"/>
          <a:stretch/>
        </p:blipFill>
        <p:spPr>
          <a:xfrm>
            <a:off x="573254" y="2175420"/>
            <a:ext cx="4733976" cy="36077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1" name="TextBox 20"/>
          <p:cNvSpPr txBox="1"/>
          <p:nvPr/>
        </p:nvSpPr>
        <p:spPr>
          <a:xfrm>
            <a:off x="1236477" y="1844824"/>
            <a:ext cx="34075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акет педагогического портфолио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8313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9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реализации проекта</a:t>
            </a: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446276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just"/>
            <a:r>
              <a:rPr lang="ru-RU" sz="2000" dirty="0" smtClean="0"/>
              <a:t>1. У </a:t>
            </a:r>
            <a:r>
              <a:rPr lang="ru-RU" sz="2000" dirty="0"/>
              <a:t>администрации и педагогов появилась возможность оперативного сбора информации достижений профессиональной деятельности педагогов для внесения данных в «АИС аттестация» или отчетную </a:t>
            </a:r>
            <a:r>
              <a:rPr lang="ru-RU" sz="2000" dirty="0" smtClean="0"/>
              <a:t>документацию</a:t>
            </a:r>
          </a:p>
          <a:p>
            <a:pPr marL="457200" indent="-457200" algn="just">
              <a:buAutoNum type="arabicPeriod"/>
            </a:pPr>
            <a:endParaRPr lang="ru-RU" sz="2000" dirty="0"/>
          </a:p>
          <a:p>
            <a:pPr algn="just"/>
            <a:r>
              <a:rPr lang="ru-RU" sz="2000" dirty="0" smtClean="0"/>
              <a:t>2. У </a:t>
            </a:r>
            <a:r>
              <a:rPr lang="ru-RU" sz="2000" dirty="0"/>
              <a:t>педагога появилась возможность приложить в полном объеме подтверждающие документы к заявлению в аттестационную комиссию через </a:t>
            </a:r>
            <a:r>
              <a:rPr lang="ru-RU" sz="2000" dirty="0" err="1" smtClean="0"/>
              <a:t>госуслуги</a:t>
            </a:r>
            <a:endParaRPr lang="ru-RU" sz="2000" dirty="0" smtClean="0"/>
          </a:p>
          <a:p>
            <a:pPr algn="just"/>
            <a:endParaRPr lang="ru-RU" sz="2000" dirty="0"/>
          </a:p>
          <a:p>
            <a:pPr algn="just"/>
            <a:r>
              <a:rPr lang="ru-RU" sz="2000" dirty="0" smtClean="0"/>
              <a:t>3. У </a:t>
            </a:r>
            <a:r>
              <a:rPr lang="ru-RU" sz="2000" dirty="0"/>
              <a:t>администрации появилась возможность своевременного принятия управленческих решений (н-р, премирования, внесения изменений в персонифицированную программу педагога и т.п.)</a:t>
            </a:r>
          </a:p>
          <a:p>
            <a:pPr algn="ctr"/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58113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14</TotalTime>
  <Words>634</Words>
  <Application>Microsoft Office PowerPoint</Application>
  <PresentationFormat>Экран (4:3)</PresentationFormat>
  <Paragraphs>144</Paragraphs>
  <Slides>1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0</vt:i4>
      </vt:variant>
    </vt:vector>
  </HeadingPairs>
  <TitlesOfParts>
    <vt:vector size="16" baseType="lpstr">
      <vt:lpstr>Arial</vt:lpstr>
      <vt:lpstr>Calibri</vt:lpstr>
      <vt:lpstr>Times New Roman</vt:lpstr>
      <vt:lpstr>Тема Office</vt:lpstr>
      <vt:lpstr>Документ</vt:lpstr>
      <vt:lpstr>think-cell Slide</vt:lpstr>
      <vt:lpstr>Администрация города Челябинска</vt:lpstr>
      <vt:lpstr>Презентация PowerPoint</vt:lpstr>
      <vt:lpstr>Администрация города Челябинска</vt:lpstr>
      <vt:lpstr>Администрация города Челябинска</vt:lpstr>
      <vt:lpstr>Администрация города Челябинска</vt:lpstr>
      <vt:lpstr>Администрация города Челябинска</vt:lpstr>
      <vt:lpstr>Достигнутые результаты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Пользователь Windows</cp:lastModifiedBy>
  <cp:revision>149</cp:revision>
  <cp:lastPrinted>2019-04-25T09:14:46Z</cp:lastPrinted>
  <dcterms:created xsi:type="dcterms:W3CDTF">2018-08-20T14:01:12Z</dcterms:created>
  <dcterms:modified xsi:type="dcterms:W3CDTF">2023-11-08T11:50:48Z</dcterms:modified>
</cp:coreProperties>
</file>